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32.xml" ContentType="application/vnd.openxmlformats-officedocument.presentationml.notesSlide+xml"/>
  <Override PartName="/ppt/notesSlides/notesSlide41.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37.xml" ContentType="application/vnd.openxmlformats-officedocument.presentationml.notesSlid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tags/tag1.xml" ContentType="application/vnd.openxmlformats-officedocument.presentationml.tags+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Default Extension="gif" ContentType="image/gif"/>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notesSlides/notesSlide18.xml" ContentType="application/vnd.openxmlformats-officedocument.presentationml.notesSlide+xml"/>
  <Default Extension="wmf" ContentType="image/x-wmf"/>
  <Override PartName="/ppt/tags/tag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45"/>
  </p:notesMasterIdLst>
  <p:sldIdLst>
    <p:sldId id="307" r:id="rId2"/>
    <p:sldId id="257" r:id="rId3"/>
    <p:sldId id="258" r:id="rId4"/>
    <p:sldId id="259" r:id="rId5"/>
    <p:sldId id="277" r:id="rId6"/>
    <p:sldId id="296" r:id="rId7"/>
    <p:sldId id="297" r:id="rId8"/>
    <p:sldId id="298" r:id="rId9"/>
    <p:sldId id="299" r:id="rId10"/>
    <p:sldId id="300" r:id="rId11"/>
    <p:sldId id="301" r:id="rId12"/>
    <p:sldId id="302" r:id="rId13"/>
    <p:sldId id="260" r:id="rId14"/>
    <p:sldId id="276" r:id="rId15"/>
    <p:sldId id="280" r:id="rId16"/>
    <p:sldId id="285" r:id="rId17"/>
    <p:sldId id="278" r:id="rId18"/>
    <p:sldId id="294" r:id="rId19"/>
    <p:sldId id="289" r:id="rId20"/>
    <p:sldId id="295" r:id="rId21"/>
    <p:sldId id="281" r:id="rId22"/>
    <p:sldId id="282" r:id="rId23"/>
    <p:sldId id="283" r:id="rId24"/>
    <p:sldId id="279" r:id="rId25"/>
    <p:sldId id="273" r:id="rId26"/>
    <p:sldId id="274" r:id="rId27"/>
    <p:sldId id="261" r:id="rId28"/>
    <p:sldId id="262" r:id="rId29"/>
    <p:sldId id="275" r:id="rId30"/>
    <p:sldId id="263" r:id="rId31"/>
    <p:sldId id="264" r:id="rId32"/>
    <p:sldId id="303" r:id="rId33"/>
    <p:sldId id="304" r:id="rId34"/>
    <p:sldId id="270" r:id="rId35"/>
    <p:sldId id="288" r:id="rId36"/>
    <p:sldId id="305" r:id="rId37"/>
    <p:sldId id="306" r:id="rId38"/>
    <p:sldId id="284" r:id="rId39"/>
    <p:sldId id="286" r:id="rId40"/>
    <p:sldId id="287" r:id="rId41"/>
    <p:sldId id="290" r:id="rId42"/>
    <p:sldId id="291" r:id="rId43"/>
    <p:sldId id="292" r:id="rId4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1" d="100"/>
          <a:sy n="101" d="100"/>
        </p:scale>
        <p:origin x="-1830"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1B148A-CC6A-407F-9D25-9E35C1A0D167}" type="datetimeFigureOut">
              <a:rPr lang="en-US" smtClean="0"/>
              <a:pPr/>
              <a:t>11/5/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E8032C9-9999-4B29-AFC8-223BA7ECCF73}"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algn="l" defTabSz="914400" rtl="0" eaLnBrk="0" fontAlgn="base" latinLnBrk="0" hangingPunct="0">
              <a:lnSpc>
                <a:spcPct val="93000"/>
              </a:lnSpc>
              <a:spcBef>
                <a:spcPts val="1800"/>
              </a:spcBef>
              <a:spcAft>
                <a:spcPct val="0"/>
              </a:spcAft>
              <a:buFont typeface="Arial" pitchFamily="34" charset="0"/>
              <a:buChar char="•"/>
            </a:pPr>
            <a:endParaRPr lang="en-US" sz="2400" kern="1200" dirty="0">
              <a:solidFill>
                <a:schemeClr val="tx1"/>
              </a:solidFill>
              <a:latin typeface="UC Berkeley OS Sign"/>
              <a:ea typeface="+mn-ea"/>
              <a:cs typeface="Arial" pitchFamily="34" charset="0"/>
              <a:sym typeface="Arial" pitchFamily="34" charset="0"/>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p:spPr>
      </p:sp>
      <p:sp>
        <p:nvSpPr>
          <p:cNvPr id="1454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A8BA60C3-2D3D-495F-8588-0C0CEF3688A9}" type="slidenum">
              <a:rPr lang="en-US" smtClean="0"/>
              <a:pPr>
                <a:defRPr/>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4</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lvl="1" indent="-342900" eaLnBrk="0" fontAlgn="base" hangingPunct="0">
              <a:lnSpc>
                <a:spcPct val="93000"/>
              </a:lnSpc>
              <a:spcBef>
                <a:spcPts val="1800"/>
              </a:spcBef>
              <a:spcAft>
                <a:spcPct val="0"/>
              </a:spcAft>
              <a:buFont typeface="Arial" pitchFamily="34" charset="0"/>
              <a:buChar cha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normAutofit lnSpcReduction="10000"/>
          </a:bodyPr>
          <a:lstStyle/>
          <a:p>
            <a:endParaRPr lang="en-US" dirty="0" smtClean="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sz="1200" dirty="0" smtClean="0">
              <a:latin typeface="UC Berkeley OS Sign"/>
              <a:cs typeface="Arial" pitchFamily="34" charset="0"/>
              <a:sym typeface="Arial" pitchFamily="34" charset="0"/>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fontScale="55000" lnSpcReduction="20000"/>
          </a:bodyPr>
          <a:lstStyle/>
          <a:p>
            <a:pPr marL="342900" indent="-342900" eaLnBrk="0" fontAlgn="base" hangingPunct="0">
              <a:lnSpc>
                <a:spcPct val="93000"/>
              </a:lnSpc>
              <a:spcBef>
                <a:spcPts val="1800"/>
              </a:spcBef>
              <a:spcAft>
                <a:spcPct val="0"/>
              </a:spcAft>
              <a:buFont typeface="Arial" pitchFamily="34" charset="0"/>
              <a:buChar cha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fontScale="92500" lnSpcReduction="20000"/>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3</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E8032C9-9999-4B29-AFC8-223BA7ECCF73}" type="slidenum">
              <a:rPr lang="en-US" smtClean="0"/>
              <a:pPr/>
              <a:t>24</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5</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40A548BD-E2B0-4DBC-B999-43F1B3318D90}" type="slidenum">
              <a:rPr lang="en-US" smtClean="0"/>
              <a:pPr>
                <a:defRPr/>
              </a:pPr>
              <a:t>27</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p:spPr>
      </p:sp>
      <p:sp>
        <p:nvSpPr>
          <p:cNvPr id="8397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CEA90254-2FDA-4CC3-967E-1635619765C7}" type="slidenum">
              <a:rPr lang="en-US" smtClean="0"/>
              <a:pPr>
                <a:defRPr/>
              </a:pPr>
              <a:t>28</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xfrm>
            <a:off x="533400" y="4419600"/>
            <a:ext cx="5486400" cy="4114800"/>
          </a:xfrm>
          <a:noFill/>
        </p:spPr>
        <p:txBody>
          <a:bodyPr wrap="square" numCol="1" anchor="t" anchorCtr="0" compatLnSpc="1">
            <a:prstTxWarp prst="textNoShape">
              <a:avLst/>
            </a:prstTxWarp>
            <a:normAutofit/>
          </a:bodyPr>
          <a:lstStyle/>
          <a:p>
            <a:endParaRPr lang="en-US" sz="2800" b="1" baseline="0"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9</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p:spPr>
      </p:sp>
      <p:sp>
        <p:nvSpPr>
          <p:cNvPr id="121859" name="Notes Placeholder 2"/>
          <p:cNvSpPr>
            <a:spLocks noGrp="1"/>
          </p:cNvSpPr>
          <p:nvPr>
            <p:ph type="body" idx="1"/>
          </p:nvPr>
        </p:nvSpPr>
        <p:spPr bwMode="auto">
          <a:noFill/>
        </p:spPr>
        <p:txBody>
          <a:bodyPr wrap="square" numCol="1" anchor="t" anchorCtr="0" compatLnSpc="1">
            <a:prstTxWarp prst="textNoShape">
              <a:avLst/>
            </a:prstTxWarp>
            <a:normAutofit lnSpcReduction="10000"/>
          </a:bodyPr>
          <a:lstStyle/>
          <a:p>
            <a:endParaRPr lang="en-US" dirty="0" smtClean="0"/>
          </a:p>
        </p:txBody>
      </p:sp>
      <p:sp>
        <p:nvSpPr>
          <p:cNvPr id="4" name="Slide Number Placeholder 3"/>
          <p:cNvSpPr>
            <a:spLocks noGrp="1"/>
          </p:cNvSpPr>
          <p:nvPr>
            <p:ph type="sldNum" sz="quarter" idx="5"/>
          </p:nvPr>
        </p:nvSpPr>
        <p:spPr/>
        <p:txBody>
          <a:bodyPr/>
          <a:lstStyle/>
          <a:p>
            <a:pPr>
              <a:defRPr/>
            </a:pPr>
            <a:fld id="{37C4FED9-0A33-4203-841B-CDB89D1269E8}" type="slidenum">
              <a:rPr lang="en-US" smtClean="0"/>
              <a:pPr>
                <a:defRPr/>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870110FC-F4F8-4C59-B8EA-C4BD710976BE}" type="slidenum">
              <a:rPr lang="en-US" smtClean="0"/>
              <a:pPr>
                <a:defRPr/>
              </a:pPr>
              <a:t>3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p:spPr>
      </p:sp>
      <p:sp>
        <p:nvSpPr>
          <p:cNvPr id="9421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B2599913-0CCC-4CAA-A7C6-2F8F74506A50}" type="slidenum">
              <a:rPr lang="en-US" smtClean="0"/>
              <a:pPr>
                <a:defRPr/>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2</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3</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8480B0FC-BED5-4411-B828-5532959A5EC9}" type="slidenum">
              <a:rPr lang="en-US" smtClean="0"/>
              <a:pPr>
                <a:defRPr/>
              </a:pPr>
              <a:t>34</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E8032C9-9999-4B29-AFC8-223BA7ECCF73}" type="slidenum">
              <a:rPr lang="en-US" smtClean="0"/>
              <a:pPr/>
              <a:t>35</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6</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7</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8</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9</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p:spPr>
      </p:sp>
      <p:sp>
        <p:nvSpPr>
          <p:cNvPr id="12493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z="2000" dirty="0" smtClean="0"/>
          </a:p>
        </p:txBody>
      </p:sp>
      <p:sp>
        <p:nvSpPr>
          <p:cNvPr id="4" name="Slide Number Placeholder 3"/>
          <p:cNvSpPr>
            <a:spLocks noGrp="1"/>
          </p:cNvSpPr>
          <p:nvPr>
            <p:ph type="sldNum" sz="quarter" idx="5"/>
          </p:nvPr>
        </p:nvSpPr>
        <p:spPr/>
        <p:txBody>
          <a:bodyPr/>
          <a:lstStyle/>
          <a:p>
            <a:pPr>
              <a:defRPr/>
            </a:pPr>
            <a:fld id="{92FDF4AB-C725-4DA9-8AAE-CD7351969E51}" type="slidenum">
              <a:rPr lang="en-US" smtClean="0"/>
              <a:pPr>
                <a:defRPr/>
              </a:pPr>
              <a:t>4</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0</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2</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3</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2800"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30AE7EE-38C2-49BE-824C-67BB82706D68}" type="datetimeFigureOut">
              <a:rPr lang="en-US" smtClean="0"/>
              <a:pPr/>
              <a:t>11/5/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30AE7EE-38C2-49BE-824C-67BB82706D68}" type="datetimeFigureOut">
              <a:rPr lang="en-US" smtClean="0"/>
              <a:pPr/>
              <a:t>11/5/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30AE7EE-38C2-49BE-824C-67BB82706D68}" type="datetimeFigureOut">
              <a:rPr lang="en-US" smtClean="0"/>
              <a:pPr/>
              <a:t>11/5/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30AE7EE-38C2-49BE-824C-67BB82706D68}" type="datetimeFigureOut">
              <a:rPr lang="en-US" smtClean="0"/>
              <a:pPr/>
              <a:t>11/5/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30AE7EE-38C2-49BE-824C-67BB82706D68}" type="datetimeFigureOut">
              <a:rPr lang="en-US" smtClean="0"/>
              <a:pPr/>
              <a:t>11/5/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30AE7EE-38C2-49BE-824C-67BB82706D68}" type="datetimeFigureOut">
              <a:rPr lang="en-US" smtClean="0"/>
              <a:pPr/>
              <a:t>11/5/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30AE7EE-38C2-49BE-824C-67BB82706D68}" type="datetimeFigureOut">
              <a:rPr lang="en-US" smtClean="0"/>
              <a:pPr/>
              <a:t>11/5/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30AE7EE-38C2-49BE-824C-67BB82706D68}" type="datetimeFigureOut">
              <a:rPr lang="en-US" smtClean="0"/>
              <a:pPr/>
              <a:t>11/5/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0AE7EE-38C2-49BE-824C-67BB82706D68}" type="datetimeFigureOut">
              <a:rPr lang="en-US" smtClean="0"/>
              <a:pPr/>
              <a:t>11/5/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30AE7EE-38C2-49BE-824C-67BB82706D68}" type="datetimeFigureOut">
              <a:rPr lang="en-US" smtClean="0"/>
              <a:pPr/>
              <a:t>11/5/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30AE7EE-38C2-49BE-824C-67BB82706D68}" type="datetimeFigureOut">
              <a:rPr lang="en-US" smtClean="0"/>
              <a:pPr/>
              <a:t>11/5/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84AA53-28B7-44BA-9861-1D78D6D72084}"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0AE7EE-38C2-49BE-824C-67BB82706D68}" type="datetimeFigureOut">
              <a:rPr lang="en-US" smtClean="0"/>
              <a:pPr/>
              <a:t>11/5/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84AA53-28B7-44BA-9861-1D78D6D72084}"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www2.knifecenter.com/shop/kitchen-knive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ww.usingenglish.com/reference/idioms/close+the+stable+door+after+the+horse+has+bolted.html"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2.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9.gif"/></Relationships>
</file>

<file path=ppt/slides/_rels/slide35.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11.gif"/></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3</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5 November 2013</a:t>
            </a:r>
            <a:br>
              <a:rPr lang="en-US" sz="3000" dirty="0" smtClean="0">
                <a:sym typeface="UC Berkeley OS Sign"/>
              </a:rPr>
            </a:br>
            <a:r>
              <a:rPr lang="en-US" sz="3000" dirty="0" smtClean="0">
                <a:sym typeface="UC Berkeley OS Sign"/>
              </a:rPr>
              <a:t>Lecture 20 – Midterm Review</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lassification Schem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1905000"/>
            <a:ext cx="8534400" cy="3961499"/>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HIERARCHICAL or TAXONOMIC scheme emerges when multiple resource properties are used by organizing principles; each property creates another leve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scheme can be both HIERARCHICAL and ENUMERATIVE at the lowest level where resources are categorized</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FACETED classification scheme uses multiple resource properties, but does not require every resource to have a value for every property and allows the properties to be considered in any order</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Principles Embodied in the</a:t>
            </a:r>
            <a:br>
              <a:rPr lang="en-US" sz="3600" b="1" dirty="0" smtClean="0"/>
            </a:br>
            <a:r>
              <a:rPr lang="en-US" sz="3600" b="1" dirty="0" smtClean="0"/>
              <a:t> Classification Schem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228600" y="2133600"/>
            <a:ext cx="8610600" cy="419605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Warrant: What is the justification for the choice of categories and their name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Literary Warrant:  Classify only the resources we have? </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Scientific Warrant: Use expert categories and name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Use Warrant: Use categories and names from “ordinary” peopl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Breadth and </a:t>
            </a:r>
            <a:r>
              <a:rPr lang="en-US" sz="2800" dirty="0" smtClean="0">
                <a:latin typeface="UC Berkeley OS Sign"/>
                <a:cs typeface="Arial" pitchFamily="34" charset="0"/>
                <a:sym typeface="Arial" pitchFamily="34" charset="0"/>
                <a:hlinkClick r:id="rId4"/>
              </a:rPr>
              <a:t>depth</a:t>
            </a:r>
            <a:r>
              <a:rPr lang="en-US" sz="2800" dirty="0" smtClean="0">
                <a:latin typeface="UC Berkeley OS Sign"/>
                <a:cs typeface="Arial" pitchFamily="34" charset="0"/>
                <a:sym typeface="Arial" pitchFamily="34" charset="0"/>
              </a:rPr>
              <a:t> of classification hierarchy</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Degree of </a:t>
            </a:r>
            <a:r>
              <a:rPr lang="en-US" sz="2800" dirty="0" err="1" smtClean="0">
                <a:latin typeface="UC Berkeley OS Sign"/>
                <a:cs typeface="Arial" pitchFamily="34" charset="0"/>
                <a:sym typeface="Arial" pitchFamily="34" charset="0"/>
              </a:rPr>
              <a:t>enumerativeness</a:t>
            </a:r>
            <a:endParaRPr lang="en-US" sz="28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lassification and Standardization (1)</a:t>
            </a:r>
            <a:endParaRPr lang="en-US" sz="36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33400" y="2133600"/>
            <a:ext cx="7772400" cy="384884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lassifications and standards both impose order on resourc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y both distinguish, explicitly or implicitly, between standard / appropriate / effective and nonstandard / inappropriate / ineffective ways of creating organizing, and using resourc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But this does not imply that a standard is a good one or that the best one will win a "standards war"</a:t>
            </a:r>
          </a:p>
          <a:p>
            <a:pPr marL="342900" indent="-342900" eaLnBrk="0" fontAlgn="base" hangingPunct="0">
              <a:lnSpc>
                <a:spcPct val="93000"/>
              </a:lnSpc>
              <a:spcBef>
                <a:spcPts val="1800"/>
              </a:spcBef>
              <a:spcAft>
                <a:spcPct val="0"/>
              </a:spcAft>
              <a:buFont typeface="Arial" pitchFamily="34" charset="0"/>
              <a:buChar char="•"/>
            </a:pPr>
            <a:endParaRPr lang="en-US" sz="2400" dirty="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t>Description is Challenging</a:t>
            </a:r>
            <a:endParaRPr lang="en-US" sz="3400" dirty="0" smtClean="0">
              <a:sym typeface="UC Berkeley OS Sign"/>
            </a:endParaRPr>
          </a:p>
        </p:txBody>
      </p:sp>
      <p:sp>
        <p:nvSpPr>
          <p:cNvPr id="4608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F7D2523A-B395-469B-8EB6-3D4BE75789E1}"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46086"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8" name="Rectangle 7"/>
          <p:cNvSpPr/>
          <p:nvPr/>
        </p:nvSpPr>
        <p:spPr>
          <a:xfrm>
            <a:off x="500063" y="1875235"/>
            <a:ext cx="8251031" cy="4804679"/>
          </a:xfrm>
          <a:prstGeom prst="rect">
            <a:avLst/>
          </a:prstGeom>
        </p:spPr>
        <p:txBody>
          <a:bodyPr lIns="64291" tIns="32146" rIns="64291" bIns="32146">
            <a:spAutoFit/>
          </a:bodyPr>
          <a:lstStyle/>
          <a:p>
            <a:pPr>
              <a:buFont typeface="Arial" pitchFamily="34" charset="0"/>
              <a:buChar char="•"/>
              <a:defRPr/>
            </a:pPr>
            <a:r>
              <a:rPr lang="en-US" sz="2800" dirty="0"/>
              <a:t> </a:t>
            </a:r>
            <a:r>
              <a:rPr lang="en-US" sz="2800" dirty="0" smtClean="0">
                <a:latin typeface="UC Berkeley OS Sign"/>
              </a:rPr>
              <a:t>People use different words for the same things, and the same words for different things - what would a "good" description be like, and how can it be created?</a:t>
            </a:r>
          </a:p>
          <a:p>
            <a:pPr>
              <a:defRPr/>
            </a:pPr>
            <a:endParaRPr lang="en-US" sz="2800" dirty="0" smtClean="0">
              <a:latin typeface="UC Berkeley OS Sign"/>
            </a:endParaRPr>
          </a:p>
          <a:p>
            <a:pPr>
              <a:buFont typeface="Arial" pitchFamily="34" charset="0"/>
              <a:buChar char="•"/>
              <a:defRPr/>
            </a:pPr>
            <a:r>
              <a:rPr lang="en-US" sz="2800" kern="0" dirty="0" smtClean="0">
                <a:latin typeface="UC Berkeley OS Sign"/>
              </a:rPr>
              <a:t> Describing and organizing always</a:t>
            </a:r>
            <a:r>
              <a:rPr lang="en-US" sz="2800" dirty="0" smtClean="0">
                <a:latin typeface="UC Berkeley OS Sign"/>
              </a:rPr>
              <a:t> (explicitly or implicitly) takes place in some context</a:t>
            </a:r>
          </a:p>
          <a:p>
            <a:pPr>
              <a:buFont typeface="Arial" pitchFamily="34" charset="0"/>
              <a:buChar char="•"/>
              <a:defRPr/>
            </a:pPr>
            <a:endParaRPr lang="en-US" sz="2800" dirty="0" smtClean="0">
              <a:latin typeface="UC Berkeley OS Sign"/>
            </a:endParaRPr>
          </a:p>
          <a:p>
            <a:pPr>
              <a:buFont typeface="Arial" pitchFamily="34" charset="0"/>
              <a:buChar char="•"/>
              <a:defRPr/>
            </a:pPr>
            <a:r>
              <a:rPr lang="en-US" sz="2800" dirty="0" smtClean="0">
                <a:latin typeface="UC Berkeley OS Sign"/>
              </a:rPr>
              <a:t> The context shapes which resource properties are important and the organizing principles that use those properties, introducing bias</a:t>
            </a:r>
            <a:endParaRPr lang="en-US" sz="2800" kern="0" dirty="0">
              <a:latin typeface="UC Berkeley OS Sign"/>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he Vocabulary Problem</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53641" y="2035969"/>
            <a:ext cx="8036719" cy="3569469"/>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People use a large variety of words for the same thing or concep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Most people - especially system designers - are surprised by this because they think their own word choices are “intuitive” or "natural“</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The extreme variability of word selection is an inescapable fact that has its roots in the nature of language and categorization</a:t>
            </a:r>
            <a:endParaRPr lang="en-US" sz="2800" dirty="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More than a Controlled Vocabulary</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85800" y="1828800"/>
            <a:ext cx="8036719" cy="4934843"/>
          </a:xfrm>
          <a:prstGeom prst="rect">
            <a:avLst/>
          </a:prstGeom>
          <a:noFill/>
          <a:ln w="9525">
            <a:noFill/>
            <a:miter lim="800000"/>
            <a:headEnd/>
            <a:tailEnd/>
          </a:ln>
        </p:spPr>
        <p:txBody>
          <a:bodyPr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 controlled vocabulary is a standardized set of terms (such as subject headings, names, classifications, etc.) assigned by organizers / cataloguers / indexers of resources </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 metadata schema like the Dublin Core controls the kinds of assertions about resources that you can make in the first place</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Controlled vocabularies can be very useful requirements or recommendations about the values that are contained in the assertions (the information content of the assertion)</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0" y="685800"/>
            <a:ext cx="8763000"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mplications for Vocabulary Design</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33400" y="1752600"/>
            <a:ext cx="8077200" cy="5340980"/>
          </a:xfrm>
          <a:prstGeom prst="rect">
            <a:avLst/>
          </a:prstGeom>
          <a:noFill/>
          <a:ln w="9525">
            <a:noFill/>
            <a:miter lim="800000"/>
            <a:headEnd/>
            <a:tailEnd/>
          </a:ln>
        </p:spPr>
        <p:txBody>
          <a:bodyPr wrap="square" lIns="64291" tIns="32146" rIns="64291" bIns="32146">
            <a:spAutoFit/>
          </a:bodyPr>
          <a:lstStyle/>
          <a:p>
            <a:pPr marL="3429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hoosing vocabulary terms, and precisely defining their semantics, is essential but impossible to do perfectly</a:t>
            </a:r>
          </a:p>
          <a:p>
            <a:pPr marL="3429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Your vocabulary must express what YOU intend, so you "look inward" -- analyze how you think about a domain</a:t>
            </a:r>
          </a:p>
          <a:p>
            <a:pPr marL="3429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You want others to understand what you mean, so you need to "look outward" -- analyze the terms used by your users, competitors, or subject matter experts </a:t>
            </a:r>
          </a:p>
          <a:p>
            <a:pPr marL="3429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You should reuse other vocabularies or thesauri if they exist, especially for any "horizontal" components, to improve transformability and interoperability</a:t>
            </a:r>
          </a:p>
          <a:p>
            <a:pPr marL="3429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But these three approaches may suggest different terms</a:t>
            </a:r>
          </a:p>
          <a:p>
            <a:pPr marL="800100" lvl="2"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
          <p:cNvSpPr>
            <a:spLocks noGrp="1" noChangeArrowheads="1"/>
          </p:cNvSpPr>
          <p:nvPr>
            <p:ph type="title"/>
          </p:nvPr>
        </p:nvSpPr>
        <p:spPr>
          <a:xfrm>
            <a:off x="457200" y="685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smtClean="0"/>
              <a:t>Complications</a:t>
            </a:r>
            <a:endParaRPr lang="en-US" sz="3400" dirty="0" smtClean="0">
              <a:sym typeface="UC Berkeley OS Sign"/>
            </a:endParaRPr>
          </a:p>
        </p:txBody>
      </p:sp>
      <p:sp>
        <p:nvSpPr>
          <p:cNvPr id="7885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6B7A6CC-FD96-4C1E-9D6C-FC1C580EEE1E}" type="slidenum">
              <a:rPr lang="en-US" sz="1500">
                <a:solidFill>
                  <a:srgbClr val="002955"/>
                </a:solidFill>
                <a:latin typeface="UC Berkeley OS Sign"/>
                <a:ea typeface="MS PGothic" pitchFamily="34" charset="-128"/>
                <a:sym typeface="UC Berkeley OS Sign"/>
              </a:rPr>
              <a:pPr algn="ctr"/>
              <a:t>17</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78854"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78855" name="Rectangle 8"/>
          <p:cNvSpPr>
            <a:spLocks noChangeArrowheads="1"/>
          </p:cNvSpPr>
          <p:nvPr/>
        </p:nvSpPr>
        <p:spPr bwMode="auto">
          <a:xfrm>
            <a:off x="609600" y="1676400"/>
            <a:ext cx="8197453" cy="4925353"/>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The properties of resources that are easiest to describe are not always the most useful ones, especially for information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For non-text information resources this  problem is magnified because the content is often in a semantically opaque format  that cannot usefully be analyzed by peopl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Business strategy and economics strongly influence the extent of resource  descrip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t>But as bibliographic collections grow larger, we need more descriptions to </a:t>
            </a:r>
            <a:r>
              <a:rPr lang="en-US" sz="2800" dirty="0" err="1" smtClean="0"/>
              <a:t>satify</a:t>
            </a:r>
            <a:r>
              <a:rPr lang="en-US" sz="2800" dirty="0" smtClean="0"/>
              <a:t> the “</a:t>
            </a:r>
            <a:r>
              <a:rPr lang="en-US" sz="2800" dirty="0" err="1" smtClean="0"/>
              <a:t>frbr</a:t>
            </a:r>
            <a:r>
              <a:rPr lang="en-US" sz="2800" dirty="0" smtClean="0"/>
              <a:t>”</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b="1" dirty="0" smtClean="0">
                <a:sym typeface="UC Berkeley OS Sign"/>
                <a:hlinkClick r:id="rId3"/>
              </a:rPr>
              <a:t>The Vision of the Semantic Web </a:t>
            </a:r>
            <a:r>
              <a:rPr lang="en-US" sz="3400" b="1" dirty="0" smtClean="0">
                <a:sym typeface="UC Berkeley OS Sign"/>
              </a:rPr>
              <a:t>(1)</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2057400"/>
            <a:ext cx="8534400" cy="4764924"/>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n a classic 2001 paper Sir Tim Berners-Lee says:</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Web can reach its full potential only if … data can be shared and processed by automated tools as well as by people... </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Semantic Web will bring structure to the meaningful content of Web pages...</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For the Web to scale, tomorrow's programs must be able to share and process data even when these programs have been designed totally independently.</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There Are No Modeling Shortcuts</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1752600"/>
            <a:ext cx="8305800" cy="4648482"/>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You might think that "modeling" means "writing a schema given a set of instances" or "inferring a schema from a single instance" (like you can with the "autogenerate" function in many XML editor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But schemas developed without a stage of conceptual design (other than very simple ones) are rarely very useful because they are too closely tied to the particular instances used, which may not be representative </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Sometimes schemas went through a stage of conceptual design but once the schemas are implemented the conceptual information isn't available to allow users to evaluate suitability</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5414" y="1995785"/>
            <a:ext cx="7867055" cy="4491633"/>
          </a:xfrm>
        </p:spPr>
        <p:txBody>
          <a:bodyPr>
            <a:normAutofit fontScale="77500" lnSpcReduction="20000"/>
          </a:bodyPr>
          <a:lstStyle/>
          <a:p>
            <a:r>
              <a:rPr lang="en-US" sz="2800" dirty="0" smtClean="0"/>
              <a:t>To organize is to create capabilities by intentionally imposing order and structure </a:t>
            </a:r>
          </a:p>
          <a:p>
            <a:r>
              <a:rPr lang="en-US" sz="2800" dirty="0" smtClean="0"/>
              <a:t>We organize things, we organize information, we organize information about things, and we organize information about information</a:t>
            </a:r>
          </a:p>
          <a:p>
            <a:r>
              <a:rPr lang="en-US" sz="2800" dirty="0" smtClean="0"/>
              <a:t>If we think abstractly about these activities, we can see commonalities that outweigh their differences; We select, organize, interact with, and maintain resources</a:t>
            </a:r>
          </a:p>
          <a:p>
            <a:r>
              <a:rPr lang="en-US" sz="2800" dirty="0" smtClean="0"/>
              <a:t>We organize resources as individuals, in informal association with other individuals, or as part of a more formal institutional or business context</a:t>
            </a:r>
          </a:p>
          <a:p>
            <a:r>
              <a:rPr lang="en-US" sz="2800" dirty="0" smtClean="0"/>
              <a:t>We must recognize the profound impact of new technologies and their co-evolution with the nature of the organizing we do and the kinds of interactions that this organizing enables, but can't ignore the "classical" </a:t>
            </a:r>
            <a:r>
              <a:rPr lang="en-US" sz="2800" smtClean="0"/>
              <a:t>concepts and knowledge</a:t>
            </a:r>
            <a:endParaRPr lang="en-US" sz="2800" dirty="0" smtClean="0"/>
          </a:p>
          <a:p>
            <a:pPr marL="160729" indent="-160729">
              <a:lnSpc>
                <a:spcPct val="92000"/>
              </a:lnSpc>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p>
          <a:p>
            <a:pPr marL="160729" indent="-160729">
              <a:lnSpc>
                <a:spcPct val="92000"/>
              </a:lnSpc>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p>
        </p:txBody>
      </p:sp>
      <p:sp>
        <p:nvSpPr>
          <p:cNvPr id="7171"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he Course In One Slid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7175"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o Summariz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228600" y="1828800"/>
            <a:ext cx="8458200" cy="3961499"/>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original vision of the Semantic Web emphasized the creation of </a:t>
            </a:r>
            <a:r>
              <a:rPr lang="en-US" sz="2400" dirty="0" err="1" smtClean="0">
                <a:latin typeface="UC Berkeley OS Sign"/>
                <a:cs typeface="Arial" pitchFamily="34" charset="0"/>
                <a:sym typeface="Arial" pitchFamily="34" charset="0"/>
              </a:rPr>
              <a:t>ontologies</a:t>
            </a:r>
            <a:r>
              <a:rPr lang="en-US" sz="2400" dirty="0" smtClean="0">
                <a:latin typeface="UC Berkeley OS Sign"/>
                <a:cs typeface="Arial" pitchFamily="34" charset="0"/>
                <a:sym typeface="Arial" pitchFamily="34" charset="0"/>
              </a:rPr>
              <a:t> that robustly described the semantics of particular domains or context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Lots of research was spawned by this vision, but the high bar of formal semantics and automated agents undoubtedly deterred “regular” people and firms from adopting it</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Semantic authoring can’t take off without tools that are simple to use as tools for designing and creating HTML pages</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1066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What's Different About Describing Multimedia?</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2971800"/>
            <a:ext cx="8036719" cy="1728837"/>
          </a:xfrm>
          <a:prstGeom prst="rect">
            <a:avLst/>
          </a:prstGeom>
          <a:noFill/>
          <a:ln w="9525">
            <a:noFill/>
            <a:miter lim="800000"/>
            <a:headEnd/>
            <a:tailEnd/>
          </a:ln>
        </p:spPr>
        <p:txBody>
          <a:bodyPr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ensory Gap</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emantic Gap</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Proliferation Problem</a:t>
            </a:r>
            <a:endParaRPr lang="en-US" sz="2800" dirty="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b="1" dirty="0" smtClean="0">
                <a:sym typeface="UC Berkeley OS Sign"/>
              </a:rPr>
              <a:t>Are these “Gaps” New Problem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762000"/>
            <a:ext cx="8036719" cy="5857531"/>
          </a:xfrm>
          <a:prstGeom prst="rect">
            <a:avLst/>
          </a:prstGeom>
          <a:noFill/>
          <a:ln w="9525">
            <a:noFill/>
            <a:miter lim="800000"/>
            <a:headEnd/>
            <a:tailEnd/>
          </a:ln>
        </p:spPr>
        <p:txBody>
          <a:bodyPr wrap="square" lIns="64291" tIns="32146" rIns="64291" bIns="32146">
            <a:spAutoFit/>
          </a:bodyPr>
          <a:lstStyle/>
          <a:p>
            <a:endParaRPr lang="en-US" sz="2800" dirty="0" smtClean="0"/>
          </a:p>
          <a:p>
            <a:endParaRPr lang="en-US" sz="2800" dirty="0" smtClean="0"/>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Museums face some of the same or similar problems in describing art works and artifacts:</a:t>
            </a:r>
          </a:p>
          <a:p>
            <a:pPr marL="3429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re may be many artifacts that represent the same "work" - this is like the "sensory" gap</a:t>
            </a:r>
          </a:p>
          <a:p>
            <a:pPr marL="3429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materials or medium in which the artifact is embodied don't convey semantics "on their surface" - this is the semantic gap</a:t>
            </a:r>
          </a:p>
          <a:p>
            <a:pPr marL="3429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re may be so many artifacts of a particular type that some get only limited descriptions - this is like the proliferation problem </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b="1" dirty="0" smtClean="0">
                <a:sym typeface="UC Berkeley OS Sign"/>
              </a:rPr>
              <a:t>Some Problems May Be New</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1371600"/>
            <a:ext cx="8229600" cy="6087722"/>
          </a:xfrm>
          <a:prstGeom prst="rect">
            <a:avLst/>
          </a:prstGeom>
          <a:noFill/>
          <a:ln w="9525">
            <a:noFill/>
            <a:miter lim="800000"/>
            <a:headEnd/>
            <a:tailEnd/>
          </a:ln>
        </p:spPr>
        <p:txBody>
          <a:bodyPr wrap="square" lIns="64291" tIns="32146" rIns="64291" bIns="32146">
            <a:spAutoFit/>
          </a:bodyPr>
          <a:lstStyle/>
          <a:p>
            <a:endParaRPr lang="en-US" sz="2800" dirty="0" smtClean="0"/>
          </a:p>
          <a:p>
            <a:endParaRPr lang="en-US" sz="2800" dirty="0" smtClean="0"/>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temporal structure of multimedia, especially video, mandates new descriptive vocabulary and new ways to identify meaningful components </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Video and music meet emotional/psychological needs that are more complex than those for "documents" - so the descriptions of the latter have to be able to address these needs</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People don't usually access or retrieve music or video "to satisfy information requirements“ </a:t>
            </a:r>
          </a:p>
          <a:p>
            <a:endParaRPr lang="en-US" sz="2800" dirty="0" smtClean="0"/>
          </a:p>
          <a:p>
            <a:r>
              <a:rPr lang="en-US" sz="2800" dirty="0" smtClean="0"/>
              <a:t> </a:t>
            </a:r>
            <a:endParaRPr lang="en-US" sz="2800" dirty="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6962520B-92AB-4422-8BEB-DF16B54B3586}" type="slidenum">
              <a:rPr lang="en-US" smtClean="0"/>
              <a:pPr>
                <a:defRPr/>
              </a:pPr>
              <a:t>24</a:t>
            </a:fld>
            <a:endParaRPr lang="en-US" dirty="0"/>
          </a:p>
        </p:txBody>
      </p:sp>
      <p:sp>
        <p:nvSpPr>
          <p:cNvPr id="3" name="Rectangle 1"/>
          <p:cNvSpPr txBox="1">
            <a:spLocks noChangeArrowheads="1"/>
          </p:cNvSpPr>
          <p:nvPr/>
        </p:nvSpPr>
        <p:spPr>
          <a:xfrm>
            <a:off x="607219" y="160735"/>
            <a:ext cx="8228707" cy="1190997"/>
          </a:xfrm>
          <a:prstGeom prst="rect">
            <a:avLst/>
          </a:prstGeom>
        </p:spPr>
        <p:txBody>
          <a:bodyPr lIns="64291" tIns="32146" rIns="64291" bIns="32146"/>
          <a:lstStyle/>
          <a:p>
            <a:pPr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400" kern="0" dirty="0">
                <a:latin typeface="UC Berkeley OS Sign"/>
                <a:ea typeface="+mj-ea"/>
                <a:cs typeface="+mj-cs"/>
                <a:sym typeface="UC Berkeley OS Sign"/>
              </a:rPr>
              <a:t>Classifying Resource Properties</a:t>
            </a:r>
          </a:p>
        </p:txBody>
      </p:sp>
      <p:pic>
        <p:nvPicPr>
          <p:cNvPr id="76804" name="Picture 7" descr="DesignPatternsResourceProperties.gif"/>
          <p:cNvPicPr>
            <a:picLocks noChangeAspect="1"/>
          </p:cNvPicPr>
          <p:nvPr/>
        </p:nvPicPr>
        <p:blipFill>
          <a:blip r:embed="rId3" cstate="print"/>
          <a:srcRect/>
          <a:stretch>
            <a:fillRect/>
          </a:stretch>
        </p:blipFill>
        <p:spPr bwMode="auto">
          <a:xfrm>
            <a:off x="767953" y="783580"/>
            <a:ext cx="6911578" cy="552859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hing” </a:t>
            </a:r>
            <a:r>
              <a:rPr lang="en-US" sz="3400" dirty="0" err="1" smtClean="0">
                <a:sym typeface="UC Berkeley OS Sign"/>
              </a:rPr>
              <a:t>vs</a:t>
            </a:r>
            <a:r>
              <a:rPr lang="en-US" sz="3400" dirty="0" smtClean="0">
                <a:sym typeface="UC Berkeley OS Sign"/>
              </a:rPr>
              <a:t> “Type of Th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53641" y="2035969"/>
            <a:ext cx="8036719" cy="394290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Oops... we have been blurring the distinction between individual things or instances of things and classes of thing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We often say that that two objects are the "same thing" when we mean they are the same "type of thing"</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Identifying a resource as an instance is not the same as identifying the category or "equivalence class" to which it belongs</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wo Aspects of “Thingnes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53641" y="2035969"/>
            <a:ext cx="8036719" cy="1983907"/>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Two separate </a:t>
            </a:r>
            <a:r>
              <a:rPr lang="en-US" sz="2800" dirty="0" smtClean="0"/>
              <a:t>aspects </a:t>
            </a:r>
            <a:r>
              <a:rPr lang="en-US" sz="2800" dirty="0"/>
              <a:t>cut across the "thingness" distinctions: </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Granularity</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t>Abstraction</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6ACE6E15-CA88-4DF8-836E-B3AA72FA6B39}" type="slidenum">
              <a:rPr lang="en-US" smtClean="0"/>
              <a:pPr>
                <a:defRPr/>
              </a:pPr>
              <a:t>27</a:t>
            </a:fld>
            <a:endParaRPr lang="en-US" dirty="0"/>
          </a:p>
        </p:txBody>
      </p:sp>
      <p:pic>
        <p:nvPicPr>
          <p:cNvPr id="6147" name="Picture 8" descr="AbstractionHierarchyOfWork.gif"/>
          <p:cNvPicPr>
            <a:picLocks noChangeAspect="1"/>
          </p:cNvPicPr>
          <p:nvPr/>
        </p:nvPicPr>
        <p:blipFill>
          <a:blip r:embed="rId3" cstate="print"/>
          <a:srcRect/>
          <a:stretch>
            <a:fillRect/>
          </a:stretch>
        </p:blipFill>
        <p:spPr bwMode="auto">
          <a:xfrm>
            <a:off x="3125391" y="214313"/>
            <a:ext cx="5789786" cy="6130230"/>
          </a:xfrm>
          <a:prstGeom prst="rect">
            <a:avLst/>
          </a:prstGeom>
          <a:noFill/>
          <a:ln w="9525">
            <a:noFill/>
            <a:miter lim="800000"/>
            <a:headEnd/>
            <a:tailEnd/>
          </a:ln>
        </p:spPr>
      </p:pic>
      <p:sp>
        <p:nvSpPr>
          <p:cNvPr id="7" name="Rectangle 1"/>
          <p:cNvSpPr txBox="1">
            <a:spLocks noChangeArrowheads="1"/>
          </p:cNvSpPr>
          <p:nvPr/>
        </p:nvSpPr>
        <p:spPr>
          <a:xfrm>
            <a:off x="232172" y="2196704"/>
            <a:ext cx="2625328" cy="1190997"/>
          </a:xfrm>
          <a:prstGeom prst="rect">
            <a:avLst/>
          </a:prstGeom>
        </p:spPr>
        <p:txBody>
          <a:bodyPr lIns="64291" tIns="32146" rIns="64291" bIns="32146"/>
          <a:lstStyle/>
          <a:p>
            <a:pPr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800" kern="0" dirty="0">
                <a:latin typeface="UC Berkeley OS Sign"/>
                <a:ea typeface="+mj-ea"/>
                <a:cs typeface="+mj-cs"/>
              </a:rPr>
              <a:t>Instances vs. Types</a:t>
            </a:r>
            <a:endParaRPr lang="en-US" sz="3800" kern="0" dirty="0">
              <a:latin typeface="UC Berkeley OS Sign"/>
              <a:ea typeface="+mj-ea"/>
              <a:cs typeface="+mj-cs"/>
              <a:sym typeface="UC Berkeley OS Sign"/>
            </a:endParaRP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
          <p:cNvSpPr>
            <a:spLocks noGrp="1" noChangeArrowheads="1"/>
          </p:cNvSpPr>
          <p:nvPr>
            <p:ph type="title"/>
          </p:nvPr>
        </p:nvSpPr>
        <p:spPr>
          <a:xfrm>
            <a:off x="392906" y="857251"/>
            <a:ext cx="8228707" cy="1190997"/>
          </a:xfrm>
        </p:spPr>
        <p:txBody>
          <a:bodyPr/>
          <a:lstStyle/>
          <a:p>
            <a:pPr>
              <a:lnSpc>
                <a:spcPct val="92000"/>
              </a:lnSpc>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3400" dirty="0"/>
              <a:t>Design Choices &amp; Patterns for Resources</a:t>
            </a:r>
            <a:endParaRPr lang="en-US" sz="3400" dirty="0">
              <a:sym typeface="UC Berkeley OS Sign"/>
            </a:endParaRPr>
          </a:p>
        </p:txBody>
      </p:sp>
      <p:sp>
        <p:nvSpPr>
          <p:cNvPr id="26627"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88" tIns="32144" rIns="64288" bIns="32144"/>
          <a:lstStyle/>
          <a:p>
            <a:pPr algn="ctr"/>
            <a:fld id="{E92B218B-B098-4FF4-BF8E-61A1DA6E20D9}"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8" y="642938"/>
            <a:ext cx="4675807"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5" y="375047"/>
            <a:ext cx="7255371"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6630"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pic>
        <p:nvPicPr>
          <p:cNvPr id="26631" name="Content Placeholder 9" descr="organizing-resources.png"/>
          <p:cNvPicPr>
            <a:picLocks noGrp="1" noChangeAspect="1"/>
          </p:cNvPicPr>
          <p:nvPr>
            <p:ph idx="1"/>
          </p:nvPr>
        </p:nvPicPr>
        <p:blipFill>
          <a:blip r:embed="rId4" cstate="print"/>
          <a:srcRect/>
          <a:stretch>
            <a:fillRect/>
          </a:stretch>
        </p:blipFill>
        <p:spPr>
          <a:xfrm>
            <a:off x="178594" y="1714500"/>
            <a:ext cx="8609335" cy="4863331"/>
          </a:xfrm>
        </p:spPr>
      </p:pic>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Format x Focu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pic>
        <p:nvPicPr>
          <p:cNvPr id="8" name="Picture 7" descr="ch3.1-350dpi.png"/>
          <p:cNvPicPr>
            <a:picLocks noChangeAspect="1"/>
          </p:cNvPicPr>
          <p:nvPr/>
        </p:nvPicPr>
        <p:blipFill>
          <a:blip r:embed="rId4" cstate="print"/>
          <a:stretch>
            <a:fillRect/>
          </a:stretch>
        </p:blipFill>
        <p:spPr>
          <a:xfrm>
            <a:off x="2019026" y="1981200"/>
            <a:ext cx="4877347" cy="4043860"/>
          </a:xfrm>
          <a:prstGeom prst="rect">
            <a:avLst/>
          </a:prstGeom>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Organizing Principles [1]</a:t>
            </a:r>
          </a:p>
        </p:txBody>
      </p:sp>
      <p:sp>
        <p:nvSpPr>
          <p:cNvPr id="2253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F7C52B88-D441-42A2-AE7A-1D3A45852B52}" type="slidenum">
              <a:rPr lang="en-US" sz="1500">
                <a:solidFill>
                  <a:srgbClr val="002955"/>
                </a:solidFill>
                <a:latin typeface="UC Berkeley OS Sign"/>
                <a:ea typeface="MS PGothic" pitchFamily="34" charset="-128"/>
                <a:sym typeface="UC Berkeley OS Sign"/>
              </a:rPr>
              <a:pPr algn="ctr"/>
              <a:t>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2534"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2535" name="Rectangle 8"/>
          <p:cNvSpPr>
            <a:spLocks noChangeArrowheads="1"/>
          </p:cNvSpPr>
          <p:nvPr/>
        </p:nvSpPr>
        <p:spPr bwMode="auto">
          <a:xfrm>
            <a:off x="446484" y="1821656"/>
            <a:ext cx="8143875" cy="4005101"/>
          </a:xfrm>
          <a:prstGeom prst="rect">
            <a:avLst/>
          </a:prstGeom>
          <a:noFill/>
          <a:ln w="9525">
            <a:noFill/>
            <a:miter lim="800000"/>
            <a:headEnd/>
            <a:tailEnd/>
          </a:ln>
        </p:spPr>
        <p:txBody>
          <a:bodyPr lIns="64291" tIns="32146" rIns="64291" bIns="32146">
            <a:spAutoFit/>
          </a:bodyPr>
          <a:lstStyle/>
          <a:p>
            <a:pPr marL="241093" indent="-241093" eaLnBrk="0" hangingPunct="0">
              <a:lnSpc>
                <a:spcPct val="93000"/>
              </a:lnSpc>
              <a:spcBef>
                <a:spcPts val="1266"/>
              </a:spcBef>
              <a:buFont typeface="Arial" pitchFamily="34" charset="0"/>
              <a:buChar char="•"/>
            </a:pPr>
            <a:r>
              <a:rPr lang="en-US" sz="2800" dirty="0" smtClean="0">
                <a:latin typeface="UC Berkeley OS Sign"/>
                <a:sym typeface="UC Berkeley OS Sign"/>
              </a:rPr>
              <a:t> ORGANIZING PRINCIPLES use properties or DESCRIPTIONS that are associated with the resources;  organizing and describing resources are inherently interconnected activities</a:t>
            </a:r>
            <a:endParaRPr lang="en-US" sz="3200" dirty="0" smtClean="0">
              <a:latin typeface="UC Berkeley OS Sign"/>
              <a:sym typeface="UC Berkeley OS Sign"/>
            </a:endParaRPr>
          </a:p>
          <a:p>
            <a:pPr marL="241093" indent="-241093" eaLnBrk="0" hangingPunct="0">
              <a:lnSpc>
                <a:spcPct val="93000"/>
              </a:lnSpc>
              <a:spcBef>
                <a:spcPts val="1266"/>
              </a:spcBef>
              <a:buFont typeface="Arial" pitchFamily="34" charset="0"/>
              <a:buChar char="•"/>
            </a:pPr>
            <a:r>
              <a:rPr lang="en-US" sz="2800" dirty="0" smtClean="0">
                <a:latin typeface="UC Berkeley OS Sign"/>
                <a:sym typeface="UC Berkeley OS Sign"/>
              </a:rPr>
              <a:t>Almost </a:t>
            </a:r>
            <a:r>
              <a:rPr lang="en-US" sz="2800" dirty="0">
                <a:latin typeface="UC Berkeley OS Sign"/>
                <a:sym typeface="UC Berkeley OS Sign"/>
              </a:rPr>
              <a:t>any property of a resource might be used as </a:t>
            </a:r>
            <a:r>
              <a:rPr lang="en-US" sz="2800" dirty="0" smtClean="0">
                <a:latin typeface="UC Berkeley OS Sign"/>
                <a:sym typeface="UC Berkeley OS Sign"/>
              </a:rPr>
              <a:t>a </a:t>
            </a:r>
            <a:r>
              <a:rPr lang="en-US" sz="2800" dirty="0">
                <a:latin typeface="UC Berkeley OS Sign"/>
                <a:sym typeface="UC Berkeley OS Sign"/>
              </a:rPr>
              <a:t>basis for </a:t>
            </a:r>
            <a:r>
              <a:rPr lang="en-US" sz="2800" dirty="0" smtClean="0">
                <a:latin typeface="UC Berkeley OS Sign"/>
                <a:sym typeface="UC Berkeley OS Sign"/>
              </a:rPr>
              <a:t>an organizing principle, </a:t>
            </a:r>
            <a:r>
              <a:rPr lang="en-US" sz="2800" dirty="0">
                <a:latin typeface="UC Berkeley OS Sign"/>
                <a:sym typeface="UC Berkeley OS Sign"/>
              </a:rPr>
              <a:t>and multiple properties are often used </a:t>
            </a:r>
            <a:r>
              <a:rPr lang="en-US" sz="2800" dirty="0" smtClean="0">
                <a:latin typeface="UC Berkeley OS Sign"/>
                <a:sym typeface="UC Berkeley OS Sign"/>
              </a:rPr>
              <a:t>simultaneously</a:t>
            </a:r>
          </a:p>
          <a:p>
            <a:pPr marL="241093" indent="-241093" eaLnBrk="0" hangingPunct="0">
              <a:lnSpc>
                <a:spcPct val="93000"/>
              </a:lnSpc>
              <a:spcBef>
                <a:spcPts val="1266"/>
              </a:spcBef>
              <a:buFont typeface="Arial" pitchFamily="34" charset="0"/>
              <a:buChar char="•"/>
            </a:pPr>
            <a:r>
              <a:rPr lang="en-US" sz="2800" dirty="0" smtClean="0">
                <a:latin typeface="UC Berkeley OS Sign"/>
                <a:sym typeface="UC Berkeley OS Sign"/>
              </a:rPr>
              <a:t>The principles can also use collection-level properties</a:t>
            </a: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
          <p:cNvSpPr>
            <a:spLocks noGrp="1" noChangeArrowheads="1"/>
          </p:cNvSpPr>
          <p:nvPr>
            <p:ph type="title"/>
          </p:nvPr>
        </p:nvSpPr>
        <p:spPr>
          <a:xfrm>
            <a:off x="455414" y="804788"/>
            <a:ext cx="8228707" cy="1190997"/>
          </a:xfrm>
        </p:spPr>
        <p:txBody>
          <a:bodyPr/>
          <a:lstStyle/>
          <a:p>
            <a:pPr>
              <a:lnSpc>
                <a:spcPct val="92000"/>
              </a:lnSpc>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3400" dirty="0">
                <a:sym typeface="UC Berkeley OS Sign"/>
              </a:rPr>
              <a:t>Interactions –The Why </a:t>
            </a:r>
            <a:br>
              <a:rPr lang="en-US" sz="3400" dirty="0">
                <a:sym typeface="UC Berkeley OS Sign"/>
              </a:rPr>
            </a:br>
            <a:r>
              <a:rPr lang="en-US" sz="3400" dirty="0">
                <a:sym typeface="UC Berkeley OS Sign"/>
              </a:rPr>
              <a:t>of Organizing Systems</a:t>
            </a:r>
          </a:p>
        </p:txBody>
      </p:sp>
      <p:sp>
        <p:nvSpPr>
          <p:cNvPr id="3584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88" tIns="32144" rIns="64288" bIns="32144"/>
          <a:lstStyle/>
          <a:p>
            <a:pPr algn="ctr"/>
            <a:fld id="{553B8493-2253-403E-8385-B66BF2BE07AC}"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8" y="642938"/>
            <a:ext cx="4675807"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5" y="375047"/>
            <a:ext cx="7255371"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35846"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553641" y="2035969"/>
            <a:ext cx="8036719" cy="3955340"/>
          </a:xfrm>
          <a:prstGeom prst="rect">
            <a:avLst/>
          </a:prstGeom>
          <a:noFill/>
          <a:ln w="9525">
            <a:noFill/>
            <a:miter lim="800000"/>
            <a:headEnd/>
            <a:tailEnd/>
          </a:ln>
        </p:spPr>
        <p:txBody>
          <a:bodyPr lIns="64288" tIns="32144" rIns="64288" bIns="32144">
            <a:spAutoFit/>
          </a:bodyPr>
          <a:lstStyle/>
          <a:p>
            <a:pPr marL="160721" indent="-160721" eaLnBrk="0" hangingPunct="0">
              <a:lnSpc>
                <a:spcPct val="92000"/>
              </a:lnSpc>
              <a:spcBef>
                <a:spcPts val="1266"/>
              </a:spcBef>
              <a:buClr>
                <a:srgbClr val="002955"/>
              </a:buClr>
              <a:buSzPct val="44000"/>
              <a:buFont typeface="Wingdings" pitchFamily="2" charset="2"/>
              <a:buChar char="l"/>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r>
              <a:rPr lang="en-US" sz="2800" dirty="0">
                <a:latin typeface="UC Berkeley OS Sign"/>
                <a:sym typeface="UC Berkeley OS Sign"/>
              </a:rPr>
              <a:t>INTERACTIONS include any activity, function, or service supported by or enabled with respect to the resources in a collection or with respect the collection as a whole</a:t>
            </a:r>
          </a:p>
          <a:p>
            <a:pPr marL="160721" indent="-160721" eaLnBrk="0" hangingPunct="0">
              <a:lnSpc>
                <a:spcPct val="92000"/>
              </a:lnSpc>
              <a:spcBef>
                <a:spcPts val="1266"/>
              </a:spcBef>
              <a:buClr>
                <a:srgbClr val="002955"/>
              </a:buClr>
              <a:buSzPct val="44000"/>
              <a:buFont typeface="Wingdings" pitchFamily="2" charset="2"/>
              <a:buChar char="l"/>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r>
              <a:rPr lang="en-US" sz="2800" dirty="0">
                <a:latin typeface="UC Berkeley OS Sign"/>
                <a:sym typeface="UC Berkeley OS Sign"/>
              </a:rPr>
              <a:t>Interactions can include access, reuse, copying, transforming, translating, comparing, combining… anything that a person or process can do with the resources…</a:t>
            </a:r>
          </a:p>
          <a:p>
            <a:pPr marL="241080" indent="-241080" eaLnBrk="0" hangingPunct="0">
              <a:lnSpc>
                <a:spcPct val="93000"/>
              </a:lnSpc>
              <a:spcBef>
                <a:spcPts val="1266"/>
              </a:spcBef>
              <a:buFont typeface="Arial" pitchFamily="34" charset="0"/>
              <a:buChar char="•"/>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endParaRPr lang="en-US" dirty="0">
              <a:latin typeface="UC Berkeley OS Sign"/>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1"/>
          <p:cNvSpPr>
            <a:spLocks noGrp="1" noChangeArrowheads="1"/>
          </p:cNvSpPr>
          <p:nvPr>
            <p:ph type="title"/>
          </p:nvPr>
        </p:nvSpPr>
        <p:spPr>
          <a:xfrm>
            <a:off x="455414" y="804788"/>
            <a:ext cx="8228707" cy="1190997"/>
          </a:xfrm>
        </p:spPr>
        <p:txBody>
          <a:bodyPr/>
          <a:lstStyle/>
          <a:p>
            <a:pPr>
              <a:lnSpc>
                <a:spcPct val="92000"/>
              </a:lnSpc>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3400" dirty="0">
                <a:sym typeface="UC Berkeley OS Sign"/>
              </a:rPr>
              <a:t>Interactions</a:t>
            </a:r>
          </a:p>
        </p:txBody>
      </p:sp>
      <p:sp>
        <p:nvSpPr>
          <p:cNvPr id="36867"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88" tIns="32144" rIns="64288" bIns="32144"/>
          <a:lstStyle/>
          <a:p>
            <a:pPr algn="ctr"/>
            <a:fld id="{39B197B2-A52A-4155-8499-08B8155D5B68}" type="slidenum">
              <a:rPr lang="en-US" sz="1500">
                <a:solidFill>
                  <a:srgbClr val="002955"/>
                </a:solidFill>
                <a:latin typeface="UC Berkeley OS Sign"/>
                <a:ea typeface="MS PGothic" pitchFamily="34" charset="-128"/>
                <a:sym typeface="UC Berkeley OS Sign"/>
              </a:rPr>
              <a:pPr algn="ctr"/>
              <a:t>3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8" y="642938"/>
            <a:ext cx="4675807"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5" y="375047"/>
            <a:ext cx="7255371" cy="212080"/>
          </a:xfrm>
          <a:prstGeom prst="rect">
            <a:avLst/>
          </a:prstGeom>
          <a:noFill/>
          <a:ln>
            <a:noFill/>
          </a:ln>
          <a:extLst/>
        </p:spPr>
        <p:txBody>
          <a:bodyPr wrap="none" lIns="0" tIns="0" rIns="35558" bIns="0">
            <a:spAutoFit/>
          </a:bodyPr>
          <a:lstStyle/>
          <a:p>
            <a:pPr marL="34600">
              <a:lnSpc>
                <a:spcPct val="92000"/>
              </a:lnSpc>
              <a:tabLst>
                <a:tab pos="696456" algn="l"/>
                <a:tab pos="1339337" algn="l"/>
                <a:tab pos="2009005" algn="l"/>
                <a:tab pos="2660816" algn="l"/>
                <a:tab pos="3330485" algn="l"/>
                <a:tab pos="3973366" algn="l"/>
                <a:tab pos="4625177" algn="l"/>
                <a:tab pos="5285916" algn="l"/>
                <a:tab pos="5946656" algn="l"/>
                <a:tab pos="6598466" algn="l"/>
                <a:tab pos="6669898"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36870"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36871" name="Rectangle 7"/>
          <p:cNvSpPr>
            <a:spLocks noChangeArrowheads="1"/>
          </p:cNvSpPr>
          <p:nvPr/>
        </p:nvSpPr>
        <p:spPr bwMode="auto">
          <a:xfrm>
            <a:off x="228824" y="1828354"/>
            <a:ext cx="8590359" cy="5346875"/>
          </a:xfrm>
          <a:prstGeom prst="rect">
            <a:avLst/>
          </a:prstGeom>
          <a:noFill/>
          <a:ln w="9525">
            <a:noFill/>
            <a:miter lim="800000"/>
            <a:headEnd/>
            <a:tailEnd/>
          </a:ln>
        </p:spPr>
        <p:txBody>
          <a:bodyPr lIns="64288" tIns="32144" rIns="64288" bIns="32144">
            <a:spAutoFit/>
          </a:bodyPr>
          <a:lstStyle/>
          <a:p>
            <a:pPr marL="159613" indent="-159613">
              <a:lnSpc>
                <a:spcPct val="92000"/>
              </a:lnSpc>
              <a:spcBef>
                <a:spcPts val="1266"/>
              </a:spcBef>
              <a:buClr>
                <a:srgbClr val="002955"/>
              </a:buClr>
              <a:buSzPct val="44000"/>
              <a:buFont typeface="Wingdings" pitchFamily="2" charset="2"/>
              <a:buChar char="l"/>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2800" dirty="0">
                <a:latin typeface="UC Berkeley OS Sign"/>
              </a:rPr>
              <a:t>Some interactions can be enabled with any type of resource, while others are tied to resource types</a:t>
            </a:r>
          </a:p>
          <a:p>
            <a:pPr marL="159613" indent="-159613">
              <a:lnSpc>
                <a:spcPct val="92000"/>
              </a:lnSpc>
              <a:spcBef>
                <a:spcPts val="1266"/>
              </a:spcBef>
              <a:buClr>
                <a:srgbClr val="002955"/>
              </a:buClr>
              <a:buSzPct val="44000"/>
              <a:buFont typeface="Wingdings" pitchFamily="2" charset="2"/>
              <a:buChar char="l"/>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2800" dirty="0">
                <a:latin typeface="UC Berkeley OS Sign"/>
              </a:rPr>
              <a:t> Interaction can be direct, mediated or indirect, or limited to interactions with resource copies or descriptions</a:t>
            </a:r>
          </a:p>
          <a:p>
            <a:pPr marL="159613" indent="-159613">
              <a:lnSpc>
                <a:spcPct val="92000"/>
              </a:lnSpc>
              <a:spcBef>
                <a:spcPts val="1266"/>
              </a:spcBef>
              <a:buClr>
                <a:srgbClr val="002955"/>
              </a:buClr>
              <a:buSzPct val="44000"/>
              <a:buFont typeface="Wingdings" pitchFamily="2" charset="2"/>
              <a:buChar char="l"/>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2800" dirty="0">
                <a:latin typeface="UC Berkeley OS Sign"/>
              </a:rPr>
              <a:t>The supported interactions depend on the nature and extent of the resource descriptions and arrangement</a:t>
            </a:r>
          </a:p>
          <a:p>
            <a:pPr marL="159613" indent="-159613">
              <a:lnSpc>
                <a:spcPct val="92000"/>
              </a:lnSpc>
              <a:spcBef>
                <a:spcPts val="1266"/>
              </a:spcBef>
              <a:buClr>
                <a:srgbClr val="002955"/>
              </a:buClr>
              <a:buSzPct val="44000"/>
              <a:buFont typeface="Wingdings" pitchFamily="2" charset="2"/>
              <a:buChar char="l"/>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r>
              <a:rPr lang="en-US" sz="2800" dirty="0">
                <a:latin typeface="UC Berkeley OS Sign"/>
              </a:rPr>
              <a:t>Different principles, or different implementations of the same organizing principles, determine the efficiency or effectiveness of the interactions </a:t>
            </a:r>
            <a:endParaRPr lang="en-US" sz="2800" dirty="0">
              <a:latin typeface="UC Berkeley OS Sign"/>
              <a:sym typeface="UC Berkeley OS Sign"/>
            </a:endParaRPr>
          </a:p>
          <a:p>
            <a:pPr marL="159613" indent="-159613">
              <a:lnSpc>
                <a:spcPct val="92000"/>
              </a:lnSpc>
              <a:spcBef>
                <a:spcPts val="1266"/>
              </a:spcBef>
              <a:buClr>
                <a:srgbClr val="002955"/>
              </a:buClr>
              <a:buSzPct val="44000"/>
              <a:buFont typeface="Wingdings" pitchFamily="2" charset="2"/>
              <a:buChar char="l"/>
              <a:tabLst>
                <a:tab pos="659658" algn="l"/>
                <a:tab pos="1311502" algn="l"/>
                <a:tab pos="1972275" algn="l"/>
                <a:tab pos="2624119" algn="l"/>
                <a:tab pos="3284892" algn="l"/>
                <a:tab pos="3945666" algn="l"/>
                <a:tab pos="4597510" algn="l"/>
                <a:tab pos="5240424" algn="l"/>
                <a:tab pos="5910127" algn="l"/>
                <a:tab pos="6561971" algn="l"/>
                <a:tab pos="7231674" algn="l"/>
                <a:tab pos="7874589" algn="l"/>
              </a:tabLst>
            </a:pPr>
            <a:endParaRPr lang="en-US" dirty="0">
              <a:latin typeface="UC Berkeley OS Sign"/>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41046"/>
          </a:xfrm>
          <a:prstGeom prst="rect">
            <a:avLst/>
          </a:prstGeom>
          <a:noFill/>
        </p:spPr>
        <p:txBody>
          <a:bodyPr wrap="square" rtlCol="0">
            <a:spAutoFit/>
          </a:bodyPr>
          <a:lstStyle/>
          <a:p>
            <a:pPr>
              <a:lnSpc>
                <a:spcPct val="80000"/>
              </a:lnSpc>
            </a:pPr>
            <a:r>
              <a:rPr lang="en-US" altLang="ko-KR" b="1" dirty="0" err="1" smtClean="0"/>
              <a:t>Apte</a:t>
            </a:r>
            <a:r>
              <a:rPr lang="en-US" altLang="ko-KR" b="1" dirty="0" smtClean="0"/>
              <a:t>, U. and Mason, R.   Global Disaggregation of</a:t>
            </a:r>
            <a:br>
              <a:rPr lang="en-US" altLang="ko-KR" b="1" dirty="0" smtClean="0"/>
            </a:br>
            <a:r>
              <a:rPr lang="en-US" altLang="ko-KR" b="1" dirty="0" smtClean="0"/>
              <a:t>Information-Intensive Services. </a:t>
            </a:r>
            <a:r>
              <a:rPr lang="en-US" altLang="ko-KR" b="1" i="1" dirty="0" smtClean="0"/>
              <a:t>Management Science</a:t>
            </a:r>
            <a:r>
              <a:rPr lang="en-US" altLang="ko-KR" b="1" dirty="0" smtClean="0"/>
              <a:t> (1995).</a:t>
            </a:r>
            <a:endParaRPr lang="en-US"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Smart”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3429000" cy="4496902"/>
          </a:xfrm>
          <a:prstGeom prst="rect">
            <a:avLst/>
          </a:prstGeom>
          <a:noFill/>
          <a:ln w="9525">
            <a:noFill/>
            <a:miter lim="800000"/>
            <a:headEnd/>
            <a:tailEnd/>
          </a:ln>
        </p:spPr>
        <p:txBody>
          <a:bodyPr wrap="square" lIns="64291" tIns="32146" rIns="64291" bIns="32146">
            <a:spAutoFit/>
          </a:bodyPr>
          <a:lstStyle/>
          <a:p>
            <a:r>
              <a:rPr lang="en-US" sz="2400" dirty="0" smtClean="0"/>
              <a:t>The variety and functions of interactions with digital resources are determined by the amount of structure and semantics represented in their digital encoding, in the descriptions associated with the resources, or by the intelligence of the</a:t>
            </a:r>
          </a:p>
          <a:p>
            <a:r>
              <a:rPr lang="en-US" sz="2400" dirty="0" smtClean="0"/>
              <a:t>computational processes applied to them</a:t>
            </a:r>
            <a:endParaRPr lang="en-US" sz="2400" dirty="0" smtClean="0">
              <a:latin typeface="UC Berkeley OS Sign"/>
              <a:cs typeface="Arial" pitchFamily="34" charset="0"/>
              <a:sym typeface="UC Berkeley OS Sign"/>
            </a:endParaRPr>
          </a:p>
        </p:txBody>
      </p:sp>
      <p:pic>
        <p:nvPicPr>
          <p:cNvPr id="8" name="Picture 7" descr="DesignPatternsResourceProperties.gif"/>
          <p:cNvPicPr>
            <a:picLocks noChangeAspect="1"/>
          </p:cNvPicPr>
          <p:nvPr/>
        </p:nvPicPr>
        <p:blipFill>
          <a:blip r:embed="rId3" cstate="print"/>
          <a:stretch>
            <a:fillRect/>
          </a:stretch>
        </p:blipFill>
        <p:spPr bwMode="auto">
          <a:xfrm>
            <a:off x="4191000" y="1752600"/>
            <a:ext cx="4780072" cy="38862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1"/>
          <p:cNvSpPr>
            <a:spLocks noGrp="1" noChangeArrowheads="1"/>
          </p:cNvSpPr>
          <p:nvPr>
            <p:ph type="title"/>
          </p:nvPr>
        </p:nvSpPr>
        <p:spPr>
          <a:xfrm>
            <a:off x="553641" y="58936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he Document Type Spectrum</a:t>
            </a:r>
          </a:p>
        </p:txBody>
      </p:sp>
      <p:sp>
        <p:nvSpPr>
          <p:cNvPr id="3072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517E3FE-7F1A-45FE-8ADC-A11D6EF3917C}"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30726"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pic>
        <p:nvPicPr>
          <p:cNvPr id="30727" name="Content Placeholder 8" descr="3766541080_2763a33f3a_o.jpg"/>
          <p:cNvPicPr>
            <a:picLocks noGrp="1" noChangeAspect="1"/>
          </p:cNvPicPr>
          <p:nvPr>
            <p:ph idx="1"/>
          </p:nvPr>
        </p:nvPicPr>
        <p:blipFill>
          <a:blip r:embed="rId4" cstate="print"/>
          <a:stretch>
            <a:fillRect/>
          </a:stretch>
        </p:blipFill>
        <p:spPr>
          <a:xfrm>
            <a:off x="457200" y="1828800"/>
            <a:ext cx="8075056" cy="2895600"/>
          </a:xfrm>
        </p:spPr>
      </p:pic>
      <p:sp>
        <p:nvSpPr>
          <p:cNvPr id="8" name="TextBox 7"/>
          <p:cNvSpPr txBox="1"/>
          <p:nvPr/>
        </p:nvSpPr>
        <p:spPr>
          <a:xfrm>
            <a:off x="381000" y="5562600"/>
            <a:ext cx="7010400" cy="369332"/>
          </a:xfrm>
          <a:prstGeom prst="rect">
            <a:avLst/>
          </a:prstGeom>
          <a:noFill/>
        </p:spPr>
        <p:txBody>
          <a:bodyPr wrap="square" rtlCol="0">
            <a:spAutoFit/>
          </a:bodyPr>
          <a:lstStyle/>
          <a:p>
            <a:r>
              <a:rPr lang="en-US" dirty="0" smtClean="0"/>
              <a:t>From Glushko &amp; McGrath, DOCUMENT ENGINEERING, MIT Press 2005</a:t>
            </a:r>
            <a:endParaRPr lang="en-US"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686800" cy="1143000"/>
          </a:xfrm>
        </p:spPr>
        <p:txBody>
          <a:bodyPr>
            <a:normAutofit/>
          </a:bodyPr>
          <a:lstStyle/>
          <a:p>
            <a:r>
              <a:rPr lang="en-US" b="1" dirty="0" smtClean="0"/>
              <a:t>Mixing Data and Documents</a:t>
            </a:r>
            <a:endParaRPr lang="en-US" b="1" dirty="0"/>
          </a:p>
        </p:txBody>
      </p:sp>
      <p:pic>
        <p:nvPicPr>
          <p:cNvPr id="2050" name="Picture 2" descr="C:\Users\glushko\Dropbox\TDO-Restart (1)\DocBook\figs\print\Figure3-2-Replacement.png"/>
          <p:cNvPicPr>
            <a:picLocks noChangeAspect="1" noChangeArrowheads="1"/>
          </p:cNvPicPr>
          <p:nvPr/>
        </p:nvPicPr>
        <p:blipFill>
          <a:blip r:embed="rId3" cstate="print"/>
          <a:stretch>
            <a:fillRect/>
          </a:stretch>
        </p:blipFill>
        <p:spPr bwMode="auto">
          <a:xfrm>
            <a:off x="838200" y="1447800"/>
            <a:ext cx="7332170" cy="4629742"/>
          </a:xfrm>
          <a:prstGeom prst="rect">
            <a:avLst/>
          </a:prstGeom>
          <a:noFill/>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1066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Five Perspectives on Relationships (1)</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33400" y="2362200"/>
            <a:ext cx="8036719" cy="3331840"/>
          </a:xfrm>
          <a:prstGeom prst="rect">
            <a:avLst/>
          </a:prstGeom>
          <a:noFill/>
          <a:ln w="9525">
            <a:noFill/>
            <a:miter lim="800000"/>
            <a:headEnd/>
            <a:tailEnd/>
          </a:ln>
        </p:spPr>
        <p:txBody>
          <a:bodyPr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EMANTIC: the meaning of the association </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LEXICAL: how the conceptual description of a relationship is expressed using words in a specific languag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TRUCTURAL: analyzes the patterns of association, arrangement, proximity, or connection between resources</a:t>
            </a: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1066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Five Perspectives on Relationships (1)</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7</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33400" y="2362200"/>
            <a:ext cx="8036719" cy="3902509"/>
          </a:xfrm>
          <a:prstGeom prst="rect">
            <a:avLst/>
          </a:prstGeom>
          <a:noFill/>
          <a:ln w="9525">
            <a:noFill/>
            <a:miter lim="800000"/>
            <a:headEnd/>
            <a:tailEnd/>
          </a:ln>
        </p:spPr>
        <p:txBody>
          <a:bodyPr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RCHITECTURAL: emphasizes the number and abstraction level of the components of a relationship, which together characterize its complexity</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MPLEMENTATION: how the relationship is implemented in a particular notation and syntax and the manner in which relationships are arranged and stored in some technology environment.</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Defining "Relationship"</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33400" y="2133600"/>
            <a:ext cx="8305800" cy="3963423"/>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n association among several things, with that association having a particular significanc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Relationships are the stuff out of which information is mad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reason is an important part of the relationship</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Multiple relationships can exist among the same objects, so the order of the objects matters</a:t>
            </a: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Structural Perspective on Relationship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2057400"/>
            <a:ext cx="8036719" cy="3501758"/>
          </a:xfrm>
          <a:prstGeom prst="rect">
            <a:avLst/>
          </a:prstGeom>
          <a:noFill/>
          <a:ln w="9525">
            <a:noFill/>
            <a:miter lim="800000"/>
            <a:headEnd/>
            <a:tailEnd/>
          </a:ln>
        </p:spPr>
        <p:txBody>
          <a:bodyPr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nalyzing the association, arrangement, proximity, or connection between resources without primary concern for their meaning or the origin of these relationships</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Sometimes structure is all we know...and sometimes we ignore what we know about relationship semantics to focus on the generic aspect of structural connectivity</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Organizing Principles [3]</a:t>
            </a:r>
          </a:p>
        </p:txBody>
      </p:sp>
      <p:sp>
        <p:nvSpPr>
          <p:cNvPr id="2560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4D7A640F-B023-4423-8028-085DCF430A53}" type="slidenum">
              <a:rPr lang="en-US" sz="1500">
                <a:solidFill>
                  <a:srgbClr val="002955"/>
                </a:solidFill>
                <a:latin typeface="UC Berkeley OS Sign"/>
                <a:ea typeface="MS PGothic" pitchFamily="34" charset="-128"/>
                <a:sym typeface="UC Berkeley OS Sign"/>
              </a:rPr>
              <a:pPr algn="ctr"/>
              <a:t>4</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5606"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1511" name="Rectangle 7"/>
          <p:cNvSpPr>
            <a:spLocks noChangeArrowheads="1"/>
          </p:cNvSpPr>
          <p:nvPr/>
        </p:nvSpPr>
        <p:spPr bwMode="auto">
          <a:xfrm>
            <a:off x="607219" y="2357437"/>
            <a:ext cx="8036719" cy="5322898"/>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 Other typical arrangements are based on ownership, origin, taxonomic, or “</a:t>
            </a:r>
            <a:r>
              <a:rPr lang="en-US" sz="2800" dirty="0" err="1">
                <a:latin typeface="UC Berkeley OS Sign"/>
                <a:sym typeface="UC Berkeley OS Sign"/>
              </a:rPr>
              <a:t>taskonomic</a:t>
            </a:r>
            <a:r>
              <a:rPr lang="en-US" sz="2800" dirty="0">
                <a:latin typeface="UC Berkeley OS Sign"/>
                <a:sym typeface="UC Berkeley OS Sign"/>
              </a:rPr>
              <a:t>” properties (usage frequency, correlated usage)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 Any resource with a orderable name or identifier can have alphabetic or numeric ordering</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Any resource with an associated date (creation, acquisition) can have chronological ordering</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Principles should be expressed logically in a way that doesn’t assume an implementation</a:t>
            </a:r>
          </a:p>
          <a:p>
            <a:pPr marL="482186"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a:p>
            <a:pPr marL="482186" lvl="1" indent="-160729"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nternal and External Structur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0</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2057400"/>
            <a:ext cx="8036719" cy="4995116"/>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Resources can have INTERNAL structure as well as EXTERNAL structure that connects them to other resources</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We often make arbitrary decisions about how the granularity with which we describe the internal structure of a resourc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boundaries we impose to identify resources determines whether some structure is internal or external with respect to them</a:t>
            </a:r>
          </a:p>
          <a:p>
            <a:endParaRPr lang="en-US" sz="2800" dirty="0" smtClean="0"/>
          </a:p>
          <a:p>
            <a:endParaRPr lang="en-US" sz="2800" dirty="0" smtClean="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1066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Architectural Perspective {</a:t>
            </a:r>
            <a:r>
              <a:rPr lang="en-US" sz="3600" b="1" dirty="0" err="1" smtClean="0"/>
              <a:t>and,or,vs</a:t>
            </a:r>
            <a:r>
              <a:rPr lang="en-US" sz="3600" b="1" dirty="0" smtClean="0"/>
              <a:t>.} the Structural Perspective</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228600" y="2286000"/>
            <a:ext cx="8610600" cy="499575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architectural perspective is abstract and prescriptive</a:t>
            </a:r>
          </a:p>
          <a:p>
            <a:pPr marL="800100" lvl="2"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t defines what kinds of relationships can be created</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e structural perspective is concrete and descriptive one</a:t>
            </a:r>
          </a:p>
          <a:p>
            <a:pPr marL="800100" lvl="2"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t says "this is what exists" and describes the actual patterns of association, arrangements, proximity, or connection between resources"</a:t>
            </a:r>
          </a:p>
          <a:p>
            <a:pPr marL="342900" indent="-342900" eaLnBrk="0" fontAlgn="base" hangingPunct="0">
              <a:lnSpc>
                <a:spcPct val="93000"/>
              </a:lnSpc>
              <a:spcBef>
                <a:spcPts val="1800"/>
              </a:spcBef>
              <a:spcAft>
                <a:spcPct val="0"/>
              </a:spcAft>
              <a:buFont typeface="Arial" pitchFamily="34" charset="0"/>
              <a:buChar char="•"/>
            </a:pPr>
            <a:endParaRPr lang="en-US" sz="28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omputing the Properties of Graphs</a:t>
            </a:r>
            <a:endParaRPr lang="en-US" sz="3400"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2</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8" name="Rectangle 7"/>
          <p:cNvSpPr/>
          <p:nvPr/>
        </p:nvSpPr>
        <p:spPr>
          <a:xfrm>
            <a:off x="457200" y="1828800"/>
            <a:ext cx="8305800" cy="3990836"/>
          </a:xfrm>
          <a:prstGeom prst="rect">
            <a:avLst/>
          </a:prstGeom>
        </p:spPr>
        <p:txBody>
          <a:bodyPr wrap="square">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err="1" smtClean="0"/>
              <a:t>Reachability</a:t>
            </a:r>
            <a:r>
              <a:rPr lang="en-US" sz="2800" dirty="0" smtClean="0"/>
              <a:t> – is there a path between any two nodes in the graph?</a:t>
            </a:r>
          </a:p>
          <a:p>
            <a:pPr marL="342900" indent="-342900" eaLnBrk="0" fontAlgn="base" hangingPunct="0">
              <a:lnSpc>
                <a:spcPct val="93000"/>
              </a:lnSpc>
              <a:spcBef>
                <a:spcPts val="1800"/>
              </a:spcBef>
              <a:spcAft>
                <a:spcPct val="0"/>
              </a:spcAft>
              <a:buFont typeface="Arial" pitchFamily="34" charset="0"/>
              <a:buChar char="•"/>
            </a:pPr>
            <a:r>
              <a:rPr lang="en-US" sz="2800" dirty="0" smtClean="0"/>
              <a:t>Shortest path – if there are multiple paths between two nodes, which is the shortest?</a:t>
            </a:r>
          </a:p>
          <a:p>
            <a:pPr marL="342900" indent="-342900" eaLnBrk="0" fontAlgn="base" hangingPunct="0">
              <a:lnSpc>
                <a:spcPct val="93000"/>
              </a:lnSpc>
              <a:spcBef>
                <a:spcPts val="1800"/>
              </a:spcBef>
              <a:spcAft>
                <a:spcPct val="0"/>
              </a:spcAft>
              <a:buFont typeface="Arial" pitchFamily="34" charset="0"/>
              <a:buChar char="•"/>
            </a:pPr>
            <a:r>
              <a:rPr lang="en-US" sz="2800" dirty="0" smtClean="0"/>
              <a:t>Centrality – which nodes are the most connected or have the average shortest paths to the other nodes?</a:t>
            </a:r>
          </a:p>
          <a:p>
            <a:pPr marL="342900" indent="-342900" eaLnBrk="0" fontAlgn="base" hangingPunct="0">
              <a:lnSpc>
                <a:spcPct val="93000"/>
              </a:lnSpc>
              <a:spcBef>
                <a:spcPts val="1800"/>
              </a:spcBef>
              <a:spcAft>
                <a:spcPct val="0"/>
              </a:spcAft>
              <a:buFont typeface="Arial" pitchFamily="34" charset="0"/>
              <a:buChar char="•"/>
            </a:pPr>
            <a:r>
              <a:rPr lang="en-US" sz="2800" dirty="0" err="1" smtClean="0"/>
              <a:t>Subgraph</a:t>
            </a:r>
            <a:r>
              <a:rPr lang="en-US" sz="2800" dirty="0" smtClean="0"/>
              <a:t> discovery  – are there sub-graphs that are completely contained in a larger graph?  </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The Conceptual Model of Social Tagg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3</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553641" y="2035969"/>
            <a:ext cx="8036719" cy="495807"/>
          </a:xfrm>
          <a:prstGeom prst="rect">
            <a:avLst/>
          </a:prstGeom>
          <a:noFill/>
          <a:ln w="9525">
            <a:noFill/>
            <a:miter lim="800000"/>
            <a:headEnd/>
            <a:tailEnd/>
          </a:ln>
        </p:spPr>
        <p:txBody>
          <a:bodyPr lIns="64291" tIns="32146" rIns="64291" bIns="32146">
            <a:spAutoFit/>
          </a:bodyPr>
          <a:lstStyle/>
          <a:p>
            <a:r>
              <a:rPr lang="en-US" sz="2800" dirty="0" smtClean="0"/>
              <a:t>				</a:t>
            </a:r>
            <a:endParaRPr lang="en-US" sz="2800" dirty="0">
              <a:latin typeface="UC Berkeley OS Sign"/>
            </a:endParaRPr>
          </a:p>
        </p:txBody>
      </p:sp>
      <p:pic>
        <p:nvPicPr>
          <p:cNvPr id="8" name="Picture 7" descr="TagsUsers.gif"/>
          <p:cNvPicPr>
            <a:picLocks noChangeAspect="1"/>
          </p:cNvPicPr>
          <p:nvPr/>
        </p:nvPicPr>
        <p:blipFill>
          <a:blip r:embed="rId4" cstate="print"/>
          <a:stretch>
            <a:fillRect/>
          </a:stretch>
        </p:blipFill>
        <p:spPr>
          <a:xfrm>
            <a:off x="1600200" y="1828800"/>
            <a:ext cx="5981700" cy="4486275"/>
          </a:xfrm>
          <a:prstGeom prst="rect">
            <a:avLst/>
          </a:prstGeom>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400" dirty="0" smtClean="0">
                <a:sym typeface="UC Berkeley OS Sign"/>
              </a:rPr>
              <a:t>Why We Describe Resources</a:t>
            </a:r>
          </a:p>
        </p:txBody>
      </p:sp>
      <p:sp>
        <p:nvSpPr>
          <p:cNvPr id="7885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6B7A6CC-FD96-4C1E-9D6C-FC1C580EEE1E}" type="slidenum">
              <a:rPr lang="en-US" sz="1500">
                <a:solidFill>
                  <a:srgbClr val="002955"/>
                </a:solidFill>
                <a:latin typeface="UC Berkeley OS Sign"/>
                <a:ea typeface="MS PGothic" pitchFamily="34" charset="-128"/>
                <a:sym typeface="UC Berkeley OS Sign"/>
              </a:rPr>
              <a:pPr algn="ctr"/>
              <a:t>5</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78854"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78855" name="Rectangle 8"/>
          <p:cNvSpPr>
            <a:spLocks noChangeArrowheads="1"/>
          </p:cNvSpPr>
          <p:nvPr/>
        </p:nvSpPr>
        <p:spPr bwMode="auto">
          <a:xfrm>
            <a:off x="446484" y="2040434"/>
            <a:ext cx="8197453" cy="3173078"/>
          </a:xfrm>
          <a:prstGeom prst="rect">
            <a:avLst/>
          </a:prstGeom>
          <a:noFill/>
          <a:ln w="9525">
            <a:noFill/>
            <a:miter lim="800000"/>
            <a:headEnd/>
            <a:tailEnd/>
          </a:ln>
        </p:spPr>
        <p:txBody>
          <a:bodyPr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ym typeface="Arial" pitchFamily="34" charset="0"/>
              </a:rPr>
              <a:t>We describe resources so we can refer to them, organize them, and interact with them</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ym typeface="Arial" pitchFamily="34" charset="0"/>
              </a:rPr>
              <a:t>Each purpose might require different descriptions and different methods of using them</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ym typeface="Arial" pitchFamily="34" charset="0"/>
              </a:rPr>
              <a:t>Different resource domains can have characteristic or standard resource descriptions (or description categories)</a:t>
            </a:r>
            <a:endParaRPr lang="en-US" sz="2800" dirty="0">
              <a:sym typeface="Arial" pitchFamily="34" charset="0"/>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ategories are “Equivalence Class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85800" y="2667000"/>
            <a:ext cx="7772400" cy="413699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Categories are sets or groups of resources or abstract entities that are treated the same</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This almost never means that every instance of the category is identical</a:t>
            </a: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t only means that for some purpose we treat them in the same way</a:t>
            </a:r>
          </a:p>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endParaRPr lang="en-US" sz="2800" dirty="0" smtClean="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ategories are Model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7</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609600" y="2133600"/>
            <a:ext cx="7772400" cy="373259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Defining categories as equivalence classes in this way should remind you of this definition:</a:t>
            </a:r>
          </a:p>
          <a:p>
            <a:pPr marL="800100" lvl="1" indent="-342900" eaLnBrk="0" fontAlgn="base" hangingPunct="0">
              <a:lnSpc>
                <a:spcPct val="93000"/>
              </a:lnSpc>
              <a:spcBef>
                <a:spcPts val="1800"/>
              </a:spcBef>
              <a:spcAft>
                <a:spcPct val="0"/>
              </a:spcAft>
            </a:pPr>
            <a:r>
              <a:rPr lang="en-US" sz="2800" i="1" dirty="0" smtClean="0"/>
              <a:t>Models are simplified descriptions of a subject that abstract from its complexity to emphasize some features or characteristics while intentionally de-emphasizing others</a:t>
            </a:r>
            <a:endParaRPr lang="en-US" sz="28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Categories are COGNITIVE and LINGUISTIC MODELS for applying prior knowledge</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Principles for Creating Categori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81000" y="2286000"/>
            <a:ext cx="8382000" cy="4236703"/>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Enume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Single Properti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Multiple Properti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Family Resemblan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Similarit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Theory-Base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smtClean="0"/>
              <a:t>Goal-Derived</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Distinguishing Categorization</a:t>
            </a:r>
            <a:br>
              <a:rPr lang="en-US" sz="3600" b="1" dirty="0" smtClean="0"/>
            </a:br>
            <a:r>
              <a:rPr lang="en-US" sz="3600" b="1" dirty="0" smtClean="0"/>
              <a:t> and Classification (1)</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9</a:t>
            </a:fld>
            <a:endParaRPr lang="en-US" sz="1500" dirty="0">
              <a:solidFill>
                <a:srgbClr val="002955"/>
              </a:solidFill>
              <a:latin typeface="UC Berkeley OS Sign"/>
              <a:ea typeface="MS PGothic" pitchFamily="34" charset="-128"/>
              <a:sym typeface="UC Berkeley OS Sign"/>
            </a:endParaRPr>
          </a:p>
        </p:txBody>
      </p:sp>
      <p:sp>
        <p:nvSpPr>
          <p:cNvPr id="1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13"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9702" name="Picture 5"/>
          <p:cNvPicPr>
            <a:picLocks noChangeArrowheads="1"/>
          </p:cNvPicPr>
          <p:nvPr/>
        </p:nvPicPr>
        <p:blipFill>
          <a:blip r:embed="rId3" cstate="print"/>
          <a:srcRect/>
          <a:stretch>
            <a:fillRect/>
          </a:stretch>
        </p:blipFill>
        <p:spPr bwMode="auto">
          <a:xfrm>
            <a:off x="194221" y="223242"/>
            <a:ext cx="892969" cy="892969"/>
          </a:xfrm>
          <a:prstGeom prst="rect">
            <a:avLst/>
          </a:prstGeom>
          <a:noFill/>
          <a:ln w="9525">
            <a:noFill/>
            <a:round/>
            <a:headEnd/>
            <a:tailEnd/>
          </a:ln>
        </p:spPr>
      </p:pic>
      <p:sp>
        <p:nvSpPr>
          <p:cNvPr id="29703" name="Rectangle 7"/>
          <p:cNvSpPr>
            <a:spLocks noChangeArrowheads="1"/>
          </p:cNvSpPr>
          <p:nvPr/>
        </p:nvSpPr>
        <p:spPr bwMode="auto">
          <a:xfrm>
            <a:off x="304800" y="2362200"/>
            <a:ext cx="8382000" cy="361800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ategories are EQUIVALENCE CLASSES - sets of resources, processes, and events that we treat the same</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A Classification (noun) is a SYSTEM OF CATEGORIES, ordered according to a PRE-DETERMINED SET OF PRINCIPLES and used to organize a collection of resourc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Classification (verb) is the process of systematically assigning resources to intentional (often institutional) categories in a classification system</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694</Words>
  <Application>Microsoft Office PowerPoint</Application>
  <PresentationFormat>On-screen Show (4:3)</PresentationFormat>
  <Paragraphs>341</Paragraphs>
  <Slides>43</Slides>
  <Notes>43</Notes>
  <HiddenSlides>0</HiddenSlides>
  <MMClips>0</MMClips>
  <ScaleCrop>false</ScaleCrop>
  <HeadingPairs>
    <vt:vector size="4" baseType="variant">
      <vt:variant>
        <vt:lpstr>Theme</vt:lpstr>
      </vt:variant>
      <vt:variant>
        <vt:i4>1</vt:i4>
      </vt:variant>
      <vt:variant>
        <vt:lpstr>Slide Titles</vt:lpstr>
      </vt:variant>
      <vt:variant>
        <vt:i4>43</vt:i4>
      </vt:variant>
    </vt:vector>
  </HeadingPairs>
  <TitlesOfParts>
    <vt:vector size="44" baseType="lpstr">
      <vt:lpstr>Office Theme</vt:lpstr>
      <vt:lpstr>INFO 202 “Information Organization &amp; Retrieval” Fall 2013 </vt:lpstr>
      <vt:lpstr>The Course In One Slide</vt:lpstr>
      <vt:lpstr>Organizing Principles [1]</vt:lpstr>
      <vt:lpstr>Organizing Principles [3]</vt:lpstr>
      <vt:lpstr>Why We Describe Resources</vt:lpstr>
      <vt:lpstr>Categories are “Equivalence Classes”</vt:lpstr>
      <vt:lpstr>Categories are Models</vt:lpstr>
      <vt:lpstr>Principles for Creating Categories</vt:lpstr>
      <vt:lpstr>Distinguishing Categorization  and Classification (1)</vt:lpstr>
      <vt:lpstr>Classification Schemes</vt:lpstr>
      <vt:lpstr>Principles Embodied in the  Classification Scheme</vt:lpstr>
      <vt:lpstr>Classification and Standardization (1)</vt:lpstr>
      <vt:lpstr>Description is Challenging</vt:lpstr>
      <vt:lpstr>The Vocabulary Problem</vt:lpstr>
      <vt:lpstr>More than a Controlled Vocabulary</vt:lpstr>
      <vt:lpstr>Implications for Vocabulary Design</vt:lpstr>
      <vt:lpstr>Complications</vt:lpstr>
      <vt:lpstr>The Vision of the Semantic Web (1)</vt:lpstr>
      <vt:lpstr>There Are No Modeling Shortcuts</vt:lpstr>
      <vt:lpstr>To Summarize…</vt:lpstr>
      <vt:lpstr>What's Different About Describing Multimedia?</vt:lpstr>
      <vt:lpstr>Are these “Gaps” New Problems?</vt:lpstr>
      <vt:lpstr>Some Problems May Be New</vt:lpstr>
      <vt:lpstr>Slide 24</vt:lpstr>
      <vt:lpstr>“Thing” vs “Type of Thing”</vt:lpstr>
      <vt:lpstr>Two Aspects of “Thingness”</vt:lpstr>
      <vt:lpstr>Slide 27</vt:lpstr>
      <vt:lpstr>Design Choices &amp; Patterns for Resources</vt:lpstr>
      <vt:lpstr>Format x Focus</vt:lpstr>
      <vt:lpstr>Interactions –The Why  of Organizing Systems</vt:lpstr>
      <vt:lpstr>Interactions</vt:lpstr>
      <vt:lpstr>Interaction and Value Creation</vt:lpstr>
      <vt:lpstr>Value Creation with “Smart” Resources</vt:lpstr>
      <vt:lpstr>The Document Type Spectrum</vt:lpstr>
      <vt:lpstr>Mixing Data and Documents</vt:lpstr>
      <vt:lpstr>Five Perspectives on Relationships (1)</vt:lpstr>
      <vt:lpstr>Five Perspectives on Relationships (1)</vt:lpstr>
      <vt:lpstr>Defining "Relationship"</vt:lpstr>
      <vt:lpstr>The Structural Perspective on Relationships</vt:lpstr>
      <vt:lpstr>Internal and External Structure</vt:lpstr>
      <vt:lpstr>The Architectural Perspective {and,or,vs.} the Structural Perspective</vt:lpstr>
      <vt:lpstr>Computing the Properties of Graphs</vt:lpstr>
      <vt:lpstr>The Conceptual Model of Social Taggin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11-05T16:33:23Z</dcterms:created>
  <dcterms:modified xsi:type="dcterms:W3CDTF">2013-11-05T16:33:48Z</dcterms:modified>
</cp:coreProperties>
</file>